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4"/>
  </p:sldMasterIdLst>
  <p:notesMasterIdLst>
    <p:notesMasterId r:id="rId6"/>
  </p:notesMasterIdLst>
  <p:handoutMasterIdLst>
    <p:handoutMasterId r:id="rId7"/>
  </p:handoutMasterIdLst>
  <p:sldIdLst>
    <p:sldId id="376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127" d="100"/>
          <a:sy n="127" d="100"/>
        </p:scale>
        <p:origin x="1446" y="120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 PETTERSSON | Studia Ingénierie" userId="78942985-7c7f-45cd-9240-8ec9f4102ab7" providerId="ADAL" clId="{988C6056-474B-4F08-A219-17EBC2F102B8}"/>
    <pc:docChg chg="modSld">
      <pc:chgData name="Maria PETTERSSON | Studia Ingénierie" userId="78942985-7c7f-45cd-9240-8ec9f4102ab7" providerId="ADAL" clId="{988C6056-474B-4F08-A219-17EBC2F102B8}" dt="2020-03-18T09:21:07.779" v="3" actId="1036"/>
      <pc:docMkLst>
        <pc:docMk/>
      </pc:docMkLst>
      <pc:sldChg chg="modSp mod">
        <pc:chgData name="Maria PETTERSSON | Studia Ingénierie" userId="78942985-7c7f-45cd-9240-8ec9f4102ab7" providerId="ADAL" clId="{988C6056-474B-4F08-A219-17EBC2F102B8}" dt="2020-03-18T09:21:07.779" v="3" actId="1036"/>
        <pc:sldMkLst>
          <pc:docMk/>
          <pc:sldMk cId="2369487437" sldId="376"/>
        </pc:sldMkLst>
        <pc:spChg chg="mod">
          <ac:chgData name="Maria PETTERSSON | Studia Ingénierie" userId="78942985-7c7f-45cd-9240-8ec9f4102ab7" providerId="ADAL" clId="{988C6056-474B-4F08-A219-17EBC2F102B8}" dt="2020-03-18T09:20:42.464" v="0" actId="947"/>
          <ac:spMkLst>
            <pc:docMk/>
            <pc:sldMk cId="2369487437" sldId="376"/>
            <ac:spMk id="9" creationId="{CF44C1F8-6FC3-4515-B08E-1A90733BAFE7}"/>
          </ac:spMkLst>
        </pc:spChg>
        <pc:spChg chg="mod">
          <ac:chgData name="Maria PETTERSSON | Studia Ingénierie" userId="78942985-7c7f-45cd-9240-8ec9f4102ab7" providerId="ADAL" clId="{988C6056-474B-4F08-A219-17EBC2F102B8}" dt="2020-03-18T09:21:02.254" v="2" actId="1036"/>
          <ac:spMkLst>
            <pc:docMk/>
            <pc:sldMk cId="2369487437" sldId="376"/>
            <ac:spMk id="29" creationId="{05A0C63E-A7CD-4992-B259-7934A73B747C}"/>
          </ac:spMkLst>
        </pc:spChg>
        <pc:picChg chg="mod">
          <ac:chgData name="Maria PETTERSSON | Studia Ingénierie" userId="78942985-7c7f-45cd-9240-8ec9f4102ab7" providerId="ADAL" clId="{988C6056-474B-4F08-A219-17EBC2F102B8}" dt="2020-03-18T09:21:07.779" v="3" actId="1036"/>
          <ac:picMkLst>
            <pc:docMk/>
            <pc:sldMk cId="2369487437" sldId="376"/>
            <ac:picMk id="30" creationId="{95FBF2EA-C5AB-412C-B77A-44C47FE53EA7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18/03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18/03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N°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6282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900774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VALOR Y VENTAJA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DESCRIPCIÓN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/>
              <a:t>Anticipe la falta de repuesto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es-ES"/>
              <a:t>Actualización de módulos de campo de PLC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Obsolesce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 SRAA, SREV, SRSC, SFB, SRE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 OCF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622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200" b="1"/>
              <a:t>Una solución más segura con un componente más reciente disponible en el mercado.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200" b="1">
                <a:solidFill>
                  <a:srgbClr val="E64B00"/>
                </a:solidFill>
              </a:rPr>
              <a:t>Prevención de paros prolongados en caso de falla: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200">
                <a:solidFill>
                  <a:srgbClr val="000000"/>
                </a:solidFill>
              </a:rPr>
              <a:t>Los fabricantes de los adaptadores Allen Bradley DH+/RIO han dejado de producirlos.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200">
                <a:solidFill>
                  <a:srgbClr val="000000"/>
                </a:solidFill>
              </a:rPr>
              <a:t>Existe el riesgo de una inminente falta de repuestos.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200">
                <a:solidFill>
                  <a:srgbClr val="000000"/>
                </a:solidFill>
              </a:rPr>
              <a:t>Esto puede conllevar largos paros de los equipos en las plantas de embotellado.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200" b="1">
                <a:solidFill>
                  <a:srgbClr val="E64B00"/>
                </a:solidFill>
              </a:rPr>
              <a:t>Mejor protocolo de comunicaciones gracias al estándar EtherNet/IP.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200" b="1">
                <a:solidFill>
                  <a:srgbClr val="E64B00"/>
                </a:solidFill>
              </a:rPr>
              <a:t>Continuidad del abastecimiento de repuestos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200" dirty="0">
                <a:solidFill>
                  <a:srgbClr val="000000"/>
                </a:solidFill>
              </a:rPr>
              <a:t>Solución de hardware actualizada con componentes completamente activos: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200" spc="-20" dirty="0">
                <a:solidFill>
                  <a:srgbClr val="000000"/>
                </a:solidFill>
              </a:rPr>
              <a:t>El nuevo sistema consta de nuevos adaptadores de tipo </a:t>
            </a:r>
            <a:r>
              <a:rPr lang="es-ES" sz="1200" spc="-20" dirty="0" err="1">
                <a:solidFill>
                  <a:srgbClr val="000000"/>
                </a:solidFill>
              </a:rPr>
              <a:t>EtherNet</a:t>
            </a:r>
            <a:r>
              <a:rPr lang="es-ES" sz="1200" spc="-20" dirty="0">
                <a:solidFill>
                  <a:srgbClr val="000000"/>
                </a:solidFill>
              </a:rPr>
              <a:t>/IP y cableado para el nuevo protocolo</a:t>
            </a:r>
            <a:r>
              <a:rPr lang="es-ES" sz="1200" dirty="0">
                <a:solidFill>
                  <a:srgbClr val="000000"/>
                </a:solidFill>
              </a:rPr>
              <a:t>.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200" dirty="0">
                <a:solidFill>
                  <a:srgbClr val="000000"/>
                </a:solidFill>
              </a:rPr>
              <a:t>Es posible evaluar la actualización de la HMI, del PLC y de los variadores de frecuencia también caso por caso.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200" dirty="0">
                <a:solidFill>
                  <a:srgbClr val="000000"/>
                </a:solidFill>
              </a:rPr>
              <a:t>* Se deberá estudiar la posibilidad de aplicación caso por caso.</a:t>
            </a:r>
          </a:p>
        </p:txBody>
      </p:sp>
      <p:sp>
        <p:nvSpPr>
          <p:cNvPr id="29" name="CasellaDiTesto 10">
            <a:extLst>
              <a:ext uri="{FF2B5EF4-FFF2-40B4-BE49-F238E27FC236}">
                <a16:creationId xmlns:a16="http://schemas.microsoft.com/office/drawing/2014/main" id="{05A0C63E-A7CD-4992-B259-7934A73B74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59204" y="4187373"/>
            <a:ext cx="3694509" cy="14025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s-ES" sz="900" b="1" i="1" dirty="0">
                <a:solidFill>
                  <a:schemeClr val="folHlink"/>
                </a:solidFill>
              </a:rPr>
              <a:t>Actualización de módulos periféricos de automatización</a:t>
            </a:r>
          </a:p>
        </p:txBody>
      </p:sp>
      <p:pic>
        <p:nvPicPr>
          <p:cNvPr id="30" name="Picture 4">
            <a:extLst>
              <a:ext uri="{FF2B5EF4-FFF2-40B4-BE49-F238E27FC236}">
                <a16:creationId xmlns:a16="http://schemas.microsoft.com/office/drawing/2014/main" id="{95FBF2EA-C5AB-412C-B77A-44C47FE53E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9859" y="4633445"/>
            <a:ext cx="1575197" cy="754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F2A33F5-499E-47FC-92A4-BEE13053192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6C8AD5C-1A12-42EB-A158-7B7F25A6DC1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EF0AB45-FB1B-4A1E-A8FF-00961271BF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76</TotalTime>
  <Words>182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1_NewSidel_Template_4x3_with add layouts</vt:lpstr>
      <vt:lpstr>think-cell Folie</vt:lpstr>
      <vt:lpstr>Anticipe la falta de repuesto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Maria PETTERSSON | Studia Ingénierie</cp:lastModifiedBy>
  <cp:revision>253</cp:revision>
  <dcterms:created xsi:type="dcterms:W3CDTF">2019-02-20T10:39:16Z</dcterms:created>
  <dcterms:modified xsi:type="dcterms:W3CDTF">2020-03-18T09:2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